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20" r:id="rId4"/>
  </p:sldMasterIdLst>
  <p:notesMasterIdLst>
    <p:notesMasterId r:id="rId17"/>
  </p:notesMasterIdLst>
  <p:handoutMasterIdLst>
    <p:handoutMasterId r:id="rId18"/>
  </p:handoutMasterIdLst>
  <p:sldIdLst>
    <p:sldId id="373" r:id="rId5"/>
    <p:sldId id="385" r:id="rId6"/>
    <p:sldId id="378" r:id="rId7"/>
    <p:sldId id="384" r:id="rId8"/>
    <p:sldId id="386" r:id="rId9"/>
    <p:sldId id="374" r:id="rId10"/>
    <p:sldId id="383" r:id="rId11"/>
    <p:sldId id="387" r:id="rId12"/>
    <p:sldId id="380" r:id="rId13"/>
    <p:sldId id="381" r:id="rId14"/>
    <p:sldId id="388" r:id="rId15"/>
    <p:sldId id="389" r:id="rId16"/>
  </p:sldIdLst>
  <p:sldSz cx="9144000" cy="6858000" type="screen4x3"/>
  <p:notesSz cx="7102475" cy="9388475"/>
  <p:custDataLst>
    <p:tags r:id="rId19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imes New Roman" pitchFamily="18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imes New Roman" pitchFamily="18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imes New Roman" pitchFamily="18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imes New Roman" pitchFamily="18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236A72A-1D41-A8A9-5C52-6FAA9294D50C}" name="Gradinger, Kyle@DOT" initials="KG" userId="Gradinger, Kyle@DOT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ulverman, Joshua@DOT" initials="PJ" lastIdx="6" clrIdx="0">
    <p:extLst>
      <p:ext uri="{19B8F6BF-5375-455C-9EA6-DF929625EA0E}">
        <p15:presenceInfo xmlns:p15="http://schemas.microsoft.com/office/powerpoint/2012/main" userId="S::josh.pulverman@dot.ca.gov::de7c2a36-0f0a-40d3-a6c6-77c2bdcd21ee" providerId="AD"/>
      </p:ext>
    </p:extLst>
  </p:cmAuthor>
  <p:cmAuthor id="2" name="Schmidt, Tiara@DOT" initials="ST" lastIdx="1" clrIdx="1">
    <p:extLst>
      <p:ext uri="{19B8F6BF-5375-455C-9EA6-DF929625EA0E}">
        <p15:presenceInfo xmlns:p15="http://schemas.microsoft.com/office/powerpoint/2012/main" userId="S::Tiara.Schmidt@dot.ca.gov::f7526797-d18e-458c-9af2-3bb0d8e944e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Animation="0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DA2BF"/>
    <a:srgbClr val="009999"/>
    <a:srgbClr val="E8F0F4"/>
    <a:srgbClr val="E1FFFF"/>
    <a:srgbClr val="CDE0E8"/>
    <a:srgbClr val="0099CC"/>
    <a:srgbClr val="FF8119"/>
    <a:srgbClr val="FF9933"/>
    <a:srgbClr val="FFCC66"/>
    <a:srgbClr val="FF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3784" autoAdjust="0"/>
  </p:normalViewPr>
  <p:slideViewPr>
    <p:cSldViewPr snapToGrid="0">
      <p:cViewPr varScale="1">
        <p:scale>
          <a:sx n="56" d="100"/>
          <a:sy n="56" d="100"/>
        </p:scale>
        <p:origin x="1580" y="4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5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078383" cy="469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454" tIns="46228" rIns="92454" bIns="46228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632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2486" y="0"/>
            <a:ext cx="3078383" cy="469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454" tIns="46228" rIns="92454" bIns="46228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632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8917128"/>
            <a:ext cx="3078383" cy="469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454" tIns="46228" rIns="92454" bIns="46228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632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2486" y="8917128"/>
            <a:ext cx="3078383" cy="469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454" tIns="46228" rIns="92454" bIns="46228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fld id="{94AAE88D-CA2A-46EF-A25D-09B18EDD2FC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964855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078383" cy="469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454" tIns="46228" rIns="92454" bIns="46228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349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2486" y="0"/>
            <a:ext cx="3078383" cy="469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454" tIns="46228" rIns="92454" bIns="46228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2560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203325" y="703263"/>
            <a:ext cx="4695825" cy="35210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6349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10891" y="4460168"/>
            <a:ext cx="5680693" cy="42244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454" tIns="46228" rIns="92454" bIns="4622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noProof="0"/>
              <a:t>Click to edit Master text styles</a:t>
            </a:r>
          </a:p>
          <a:p>
            <a:pPr lvl="1"/>
            <a:r>
              <a:rPr lang="en-US" altLang="en-US" noProof="0"/>
              <a:t>Second level</a:t>
            </a:r>
          </a:p>
          <a:p>
            <a:pPr lvl="2"/>
            <a:r>
              <a:rPr lang="en-US" altLang="en-US" noProof="0"/>
              <a:t>Third level</a:t>
            </a:r>
          </a:p>
          <a:p>
            <a:pPr lvl="3"/>
            <a:r>
              <a:rPr lang="en-US" altLang="en-US" noProof="0"/>
              <a:t>Fourth level</a:t>
            </a:r>
          </a:p>
          <a:p>
            <a:pPr lvl="4"/>
            <a:r>
              <a:rPr lang="en-US" altLang="en-US" noProof="0"/>
              <a:t>Fifth level</a:t>
            </a:r>
          </a:p>
        </p:txBody>
      </p:sp>
      <p:sp>
        <p:nvSpPr>
          <p:cNvPr id="6349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8917128"/>
            <a:ext cx="3078383" cy="469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454" tIns="46228" rIns="92454" bIns="46228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349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2486" y="8917128"/>
            <a:ext cx="3078383" cy="469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454" tIns="46228" rIns="92454" bIns="46228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fld id="{47F3073F-E14C-4E7D-8003-6784747B3CD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65584892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7F3073F-E14C-4E7D-8003-6784747B3CD8}" type="slidenum">
              <a:rPr lang="en-US" altLang="en-US" smtClean="0"/>
              <a:pPr>
                <a:defRPr/>
              </a:pPr>
              <a:t>1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2503657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7F3073F-E14C-4E7D-8003-6784747B3CD8}" type="slidenum">
              <a:rPr lang="en-US" altLang="en-US" smtClean="0"/>
              <a:pPr>
                <a:defRPr/>
              </a:pPr>
              <a:t>11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4113804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7F3073F-E14C-4E7D-8003-6784747B3CD8}" type="slidenum">
              <a:rPr lang="en-US" altLang="en-US" smtClean="0"/>
              <a:pPr>
                <a:defRPr/>
              </a:pPr>
              <a:t>12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358730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7F3073F-E14C-4E7D-8003-6784747B3CD8}" type="slidenum">
              <a:rPr lang="en-US" altLang="en-US" smtClean="0"/>
              <a:pPr>
                <a:defRPr/>
              </a:pPr>
              <a:t>2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479136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spcBef>
                <a:spcPts val="400"/>
              </a:spcBef>
              <a:buFont typeface="Arial"/>
              <a:buChar char="•"/>
            </a:pPr>
            <a:endParaRPr lang="en-US" dirty="0">
              <a:latin typeface="Arial"/>
              <a:cs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7F3073F-E14C-4E7D-8003-6784747B3CD8}" type="slidenum">
              <a:rPr lang="en-US" altLang="en-US" smtClean="0"/>
              <a:pPr>
                <a:defRPr/>
              </a:pPr>
              <a:t>3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125029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spcBef>
                <a:spcPts val="400"/>
              </a:spcBef>
              <a:buFont typeface="Arial"/>
              <a:buChar char="•"/>
            </a:pPr>
            <a:endParaRPr lang="en-US" dirty="0">
              <a:latin typeface="Arial"/>
              <a:cs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7F3073F-E14C-4E7D-8003-6784747B3CD8}" type="slidenum">
              <a:rPr lang="en-US" altLang="en-US" smtClean="0"/>
              <a:pPr>
                <a:defRPr/>
              </a:pPr>
              <a:t>4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858211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7F3073F-E14C-4E7D-8003-6784747B3CD8}" type="slidenum">
              <a:rPr lang="en-US" altLang="en-US" smtClean="0"/>
              <a:pPr>
                <a:defRPr/>
              </a:pPr>
              <a:t>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192320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7F3073F-E14C-4E7D-8003-6784747B3CD8}" type="slidenum">
              <a:rPr lang="en-US" altLang="en-US" smtClean="0"/>
              <a:pPr>
                <a:defRPr/>
              </a:pPr>
              <a:t>7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80656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7F3073F-E14C-4E7D-8003-6784747B3CD8}" type="slidenum">
              <a:rPr lang="en-US" altLang="en-US" smtClean="0"/>
              <a:pPr>
                <a:defRPr/>
              </a:pPr>
              <a:t>8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482729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7F3073F-E14C-4E7D-8003-6784747B3CD8}" type="slidenum">
              <a:rPr lang="en-US" altLang="en-US" smtClean="0"/>
              <a:pPr>
                <a:defRPr/>
              </a:pPr>
              <a:t>9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5200386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7F3073F-E14C-4E7D-8003-6784747B3CD8}" type="slidenum">
              <a:rPr lang="en-US" altLang="en-US" smtClean="0"/>
              <a:pPr>
                <a:defRPr/>
              </a:pPr>
              <a:t>10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607068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/>
          <p:cNvSpPr/>
          <p:nvPr/>
        </p:nvSpPr>
        <p:spPr>
          <a:xfrm>
            <a:off x="0" y="4664075"/>
            <a:ext cx="9150350" cy="0"/>
          </a:xfrm>
          <a:prstGeom prst="rtTriangle">
            <a:avLst/>
          </a:prstGeom>
          <a:gradFill flip="none" rotWithShape="1">
            <a:gsLst>
              <a:gs pos="0">
                <a:schemeClr val="accent1">
                  <a:shade val="35000"/>
                  <a:satMod val="170000"/>
                  <a:alpha val="100000"/>
                </a:schemeClr>
              </a:gs>
              <a:gs pos="55000">
                <a:schemeClr val="accent1">
                  <a:tint val="90000"/>
                  <a:satMod val="150000"/>
                  <a:alpha val="100000"/>
                </a:schemeClr>
              </a:gs>
              <a:gs pos="100000">
                <a:schemeClr val="accent1">
                  <a:shade val="35000"/>
                  <a:satMod val="170000"/>
                  <a:alpha val="100000"/>
                </a:schemeClr>
              </a:gs>
            </a:gsLst>
            <a:lin ang="3000000" scaled="1"/>
            <a:tileRect/>
          </a:gradFill>
          <a:ln w="127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grpSp>
        <p:nvGrpSpPr>
          <p:cNvPr id="5" name="Group 15"/>
          <p:cNvGrpSpPr>
            <a:grpSpLocks/>
          </p:cNvGrpSpPr>
          <p:nvPr/>
        </p:nvGrpSpPr>
        <p:grpSpPr bwMode="auto">
          <a:xfrm>
            <a:off x="-3175" y="4953000"/>
            <a:ext cx="9147175" cy="1911350"/>
            <a:chOff x="-3765" y="4832896"/>
            <a:chExt cx="9147765" cy="2032192"/>
          </a:xfrm>
        </p:grpSpPr>
        <p:sp>
          <p:nvSpPr>
            <p:cNvPr id="6" name="Freeform 16"/>
            <p:cNvSpPr>
              <a:spLocks/>
            </p:cNvSpPr>
            <p:nvPr/>
          </p:nvSpPr>
          <p:spPr bwMode="auto">
            <a:xfrm>
              <a:off x="1687513" y="4832896"/>
              <a:ext cx="7456487" cy="518816"/>
            </a:xfrm>
            <a:custGeom>
              <a:avLst/>
              <a:gdLst>
                <a:gd name="T0" fmla="*/ 2147483647 w 4697"/>
                <a:gd name="T1" fmla="*/ 0 h 367"/>
                <a:gd name="T2" fmla="*/ 2147483647 w 4697"/>
                <a:gd name="T3" fmla="*/ 2147483647 h 367"/>
                <a:gd name="T4" fmla="*/ 0 w 4697"/>
                <a:gd name="T5" fmla="*/ 2147483647 h 367"/>
                <a:gd name="T6" fmla="*/ 2147483647 w 4697"/>
                <a:gd name="T7" fmla="*/ 0 h 36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697"/>
                <a:gd name="T13" fmla="*/ 0 h 367"/>
                <a:gd name="T14" fmla="*/ 4697 w 4697"/>
                <a:gd name="T15" fmla="*/ 367 h 36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697" h="367">
                  <a:moveTo>
                    <a:pt x="4697" y="0"/>
                  </a:moveTo>
                  <a:lnTo>
                    <a:pt x="4697" y="367"/>
                  </a:lnTo>
                  <a:lnTo>
                    <a:pt x="0" y="218"/>
                  </a:lnTo>
                  <a:lnTo>
                    <a:pt x="4697" y="0"/>
                  </a:lnTo>
                  <a:close/>
                </a:path>
              </a:pathLst>
            </a:custGeom>
            <a:solidFill>
              <a:srgbClr val="9FAAC6">
                <a:alpha val="3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" name="Freeform 18"/>
            <p:cNvSpPr>
              <a:spLocks/>
            </p:cNvSpPr>
            <p:nvPr/>
          </p:nvSpPr>
          <p:spPr bwMode="auto">
            <a:xfrm>
              <a:off x="35443" y="5135526"/>
              <a:ext cx="9108557" cy="838200"/>
            </a:xfrm>
            <a:custGeom>
              <a:avLst/>
              <a:gdLst>
                <a:gd name="T0" fmla="*/ 0 w 5760"/>
                <a:gd name="T1" fmla="*/ 0 h 528"/>
                <a:gd name="T2" fmla="*/ 2147483647 w 5760"/>
                <a:gd name="T3" fmla="*/ 0 h 528"/>
                <a:gd name="T4" fmla="*/ 2147483647 w 5760"/>
                <a:gd name="T5" fmla="*/ 2147483647 h 528"/>
                <a:gd name="T6" fmla="*/ 2147483647 w 5760"/>
                <a:gd name="T7" fmla="*/ 0 h 52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760"/>
                <a:gd name="T13" fmla="*/ 0 h 528"/>
                <a:gd name="T14" fmla="*/ 5760 w 5760"/>
                <a:gd name="T15" fmla="*/ 528 h 52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760" h="528">
                  <a:moveTo>
                    <a:pt x="0" y="0"/>
                  </a:moveTo>
                  <a:lnTo>
                    <a:pt x="5760" y="0"/>
                  </a:lnTo>
                  <a:lnTo>
                    <a:pt x="5760" y="528"/>
                  </a:lnTo>
                  <a:lnTo>
                    <a:pt x="48" y="0"/>
                  </a:lnTo>
                </a:path>
              </a:pathLst>
            </a:custGeom>
            <a:solidFill>
              <a:srgbClr val="F9A6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0" y="4883888"/>
              <a:ext cx="9144000" cy="1981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0" y="1248"/>
                </a:cxn>
                <a:cxn ang="0">
                  <a:pos x="5760" y="1248"/>
                </a:cxn>
                <a:cxn ang="0">
                  <a:pos x="5760" y="528"/>
                </a:cxn>
                <a:cxn ang="0">
                  <a:pos x="0" y="0"/>
                </a:cxn>
              </a:cxnLst>
              <a:rect l="0" t="0" r="0" b="0"/>
              <a:pathLst>
                <a:path w="5760" h="1248">
                  <a:moveTo>
                    <a:pt x="0" y="0"/>
                  </a:moveTo>
                  <a:lnTo>
                    <a:pt x="0" y="1248"/>
                  </a:lnTo>
                  <a:lnTo>
                    <a:pt x="5760" y="1248"/>
                  </a:lnTo>
                  <a:lnTo>
                    <a:pt x="5760" y="5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96297"/>
            </a:solidFill>
            <a:ln w="12700" cap="rnd" cmpd="thickThin" algn="ctr">
              <a:noFill/>
              <a:prstDash val="solid"/>
            </a:ln>
            <a:effectLst>
              <a:fillOverlay blend="mult">
                <a:gradFill flip="none" rotWithShape="1">
                  <a:gsLst>
                    <a:gs pos="0">
                      <a:schemeClr val="accent1">
                        <a:shade val="20000"/>
                        <a:satMod val="176000"/>
                        <a:alpha val="100000"/>
                      </a:schemeClr>
                    </a:gs>
                    <a:gs pos="18000">
                      <a:schemeClr val="accent1">
                        <a:shade val="48000"/>
                        <a:satMod val="153000"/>
                        <a:alpha val="100000"/>
                      </a:schemeClr>
                    </a:gs>
                    <a:gs pos="43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45000">
                      <a:schemeClr val="accent1">
                        <a:tint val="85000"/>
                        <a:satMod val="150000"/>
                        <a:alpha val="100000"/>
                      </a:schemeClr>
                    </a:gs>
                    <a:gs pos="50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79000">
                      <a:schemeClr val="accent1">
                        <a:shade val="53000"/>
                        <a:satMod val="150000"/>
                        <a:alpha val="100000"/>
                      </a:schemeClr>
                    </a:gs>
                    <a:gs pos="100000">
                      <a:schemeClr val="accent1">
                        <a:shade val="25000"/>
                        <a:satMod val="170000"/>
                        <a:alpha val="100000"/>
                      </a:schemeClr>
                    </a:gs>
                  </a:gsLst>
                  <a:lin ang="450000" scaled="1"/>
                  <a:tileRect/>
                </a:gradFill>
              </a:fillOverlay>
            </a:effectLst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/>
            </a:p>
          </p:txBody>
        </p:sp>
        <p:cxnSp>
          <p:nvCxnSpPr>
            <p:cNvPr id="10" name="Straight Connector 9"/>
            <p:cNvCxnSpPr/>
            <p:nvPr/>
          </p:nvCxnSpPr>
          <p:spPr>
            <a:xfrm>
              <a:off x="-3765" y="4880373"/>
              <a:ext cx="9147765" cy="839943"/>
            </a:xfrm>
            <a:prstGeom prst="line">
              <a:avLst/>
            </a:prstGeom>
            <a:noFill/>
            <a:ln w="12065" cap="flat" cmpd="sng" algn="ctr">
              <a:gradFill>
                <a:gsLst>
                  <a:gs pos="45000">
                    <a:schemeClr val="accent1">
                      <a:tint val="70000"/>
                      <a:satMod val="110000"/>
                    </a:schemeClr>
                  </a:gs>
                  <a:gs pos="15000">
                    <a:schemeClr val="accent1">
                      <a:shade val="40000"/>
                      <a:satMod val="110000"/>
                    </a:schemeClr>
                  </a:gs>
                </a:gsLst>
                <a:lin ang="5400000" scaled="1"/>
              </a:gradFill>
              <a:prstDash val="solid"/>
              <a:miter lim="800000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Picture 2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5" y="34925"/>
            <a:ext cx="7315200" cy="1279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8"/>
          <p:cNvSpPr>
            <a:spLocks noGrp="1"/>
          </p:cNvSpPr>
          <p:nvPr>
            <p:ph type="ctrTitle"/>
          </p:nvPr>
        </p:nvSpPr>
        <p:spPr>
          <a:xfrm>
            <a:off x="685800" y="1752601"/>
            <a:ext cx="7772400" cy="1829761"/>
          </a:xfrm>
        </p:spPr>
        <p:txBody>
          <a:bodyPr anchor="b"/>
          <a:lstStyle>
            <a:lvl1pPr algn="r">
              <a:defRPr sz="4800" b="1">
                <a:solidFill>
                  <a:schemeClr val="tx2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Subtitle 16"/>
          <p:cNvSpPr>
            <a:spLocks noGrp="1"/>
          </p:cNvSpPr>
          <p:nvPr>
            <p:ph type="subTitle" idx="1"/>
          </p:nvPr>
        </p:nvSpPr>
        <p:spPr>
          <a:xfrm>
            <a:off x="685800" y="3611607"/>
            <a:ext cx="7772400" cy="1199704"/>
          </a:xfrm>
        </p:spPr>
        <p:txBody>
          <a:bodyPr lIns="45720" rIns="45720"/>
          <a:lstStyle>
            <a:lvl1pPr marL="0" marR="64008" indent="0" algn="r">
              <a:buNone/>
              <a:defRPr>
                <a:solidFill>
                  <a:schemeClr val="tx2"/>
                </a:solidFill>
                <a:latin typeface="Calibri" pitchFamily="34" charset="0"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Date Placeholder 2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pPr>
              <a:defRPr/>
            </a:pPr>
            <a:endParaRPr lang="en-US" altLang="en-US"/>
          </a:p>
        </p:txBody>
      </p:sp>
      <p:sp>
        <p:nvSpPr>
          <p:cNvPr id="13" name="Footer Placeholder 1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tint val="20000"/>
                  </a:schemeClr>
                </a:solidFill>
              </a:defRPr>
            </a:lvl1pPr>
            <a:extLst/>
          </a:lstStyle>
          <a:p>
            <a:pPr>
              <a:defRPr/>
            </a:pPr>
            <a:endParaRPr lang="en-US" altLang="en-US"/>
          </a:p>
        </p:txBody>
      </p:sp>
      <p:sp>
        <p:nvSpPr>
          <p:cNvPr id="14" name="Slide Number Placeholder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pPr>
              <a:defRPr/>
            </a:pPr>
            <a:fld id="{9858500E-B2AB-4941-8270-F80B4DA661A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494087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481329"/>
            <a:ext cx="8229600" cy="438607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712059-9F38-493D-B439-DAC35EFBDF0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947871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44013" y="274640"/>
            <a:ext cx="1777470" cy="5592761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1"/>
            <a:ext cx="6324600" cy="559276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644F17-F665-4381-A5E6-B82AB7361B6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707502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5600" y="6019800"/>
            <a:ext cx="235902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381000" y="6492875"/>
            <a:ext cx="1920875" cy="365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  <a:extLst/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0" y="6492875"/>
            <a:ext cx="36512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extLst/>
          </a:lstStyle>
          <a:p>
            <a:pPr>
              <a:defRPr/>
            </a:pPr>
            <a:fld id="{22AE6AA9-9F6A-4851-84A2-E71C2DB28FC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3429000" y="6492875"/>
            <a:ext cx="2351088" cy="365125"/>
          </a:xfrm>
        </p:spPr>
        <p:txBody>
          <a:bodyPr/>
          <a:lstStyle>
            <a:lvl1pPr algn="ctr">
              <a:defRPr/>
            </a:lvl1pPr>
            <a:extLst/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6841149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hevron 3"/>
          <p:cNvSpPr/>
          <p:nvPr/>
        </p:nvSpPr>
        <p:spPr>
          <a:xfrm>
            <a:off x="3636963" y="3005138"/>
            <a:ext cx="182562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endParaRPr lang="en-US"/>
          </a:p>
        </p:txBody>
      </p:sp>
      <p:sp>
        <p:nvSpPr>
          <p:cNvPr id="5" name="Chevron 4"/>
          <p:cNvSpPr/>
          <p:nvPr/>
        </p:nvSpPr>
        <p:spPr>
          <a:xfrm>
            <a:off x="3449638" y="3005138"/>
            <a:ext cx="18415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76" y="1059712"/>
            <a:ext cx="7772400" cy="1828800"/>
          </a:xfrm>
        </p:spPr>
        <p:txBody>
          <a:bodyPr anchor="b"/>
          <a:lstStyle>
            <a:lvl1pPr algn="r">
              <a:buNone/>
              <a:defRPr sz="4800" b="1" cap="none" baseline="0"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22713" y="2931712"/>
            <a:ext cx="4572000" cy="1454888"/>
          </a:xfrm>
        </p:spPr>
        <p:txBody>
          <a:bodyPr/>
          <a:lstStyle>
            <a:lvl1pPr marL="0" indent="0" algn="l">
              <a:buNone/>
              <a:defRPr sz="23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en-US" alt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7C3FE8BC-BB80-455C-974D-0B0BABAAE1A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220952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07177212-E2AF-4159-AB59-99C1F728247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178447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9600" cy="1143000"/>
          </a:xfrm>
        </p:spPr>
        <p:txBody>
          <a:bodyPr/>
          <a:lstStyle>
            <a:lvl1pPr>
              <a:defRPr/>
            </a:lvl1pPr>
            <a:extLst/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5410200"/>
            <a:ext cx="4040188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4645026" y="5410200"/>
            <a:ext cx="4041775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457200" y="1444294"/>
            <a:ext cx="4040188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444294"/>
            <a:ext cx="4041775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spcBef>
                <a:spcPts val="0"/>
              </a:spcBef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en-US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en-US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98E373A8-85B4-4E28-87C7-BC0EBB05A45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767441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en-US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87D81B8C-757C-4D8C-9C7C-272E5A38441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148840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4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C5DAD9B-48C9-4BAA-BB8C-AAB3729A1BA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008519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876800"/>
            <a:ext cx="7481776" cy="457200"/>
          </a:xfrm>
        </p:spPr>
        <p:txBody>
          <a:bodyPr anchor="t">
            <a:noAutofit/>
            <a:sp3d prstMaterial="softEdge">
              <a:bevelT w="0" h="0"/>
            </a:sp3d>
          </a:bodyPr>
          <a:lstStyle>
            <a:lvl1pPr algn="r">
              <a:buNone/>
              <a:defRPr sz="2500" b="0">
                <a:solidFill>
                  <a:schemeClr val="accent1"/>
                </a:solidFill>
                <a:effectLst/>
              </a:defRPr>
            </a:lvl1pPr>
            <a:extLst/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4419600" y="5355102"/>
            <a:ext cx="3974592" cy="914400"/>
          </a:xfrm>
        </p:spPr>
        <p:txBody>
          <a:bodyPr/>
          <a:lstStyle>
            <a:lvl1pPr marL="0" indent="0" algn="r">
              <a:buNone/>
              <a:defRPr sz="16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914400" y="274320"/>
            <a:ext cx="7479792" cy="4572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239A61BF-07C7-43F4-8655-BADB4CD87A8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168808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>
            <a:spLocks/>
          </p:cNvSpPr>
          <p:nvPr/>
        </p:nvSpPr>
        <p:spPr bwMode="auto">
          <a:xfrm>
            <a:off x="500063" y="5945188"/>
            <a:ext cx="4940300" cy="9207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7485" h="337">
                <a:moveTo>
                  <a:pt x="0" y="2"/>
                </a:moveTo>
                <a:lnTo>
                  <a:pt x="7485" y="337"/>
                </a:lnTo>
                <a:lnTo>
                  <a:pt x="5558" y="337"/>
                </a:lnTo>
                <a:lnTo>
                  <a:pt x="1" y="0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Freeform 15"/>
          <p:cNvSpPr>
            <a:spLocks/>
          </p:cNvSpPr>
          <p:nvPr/>
        </p:nvSpPr>
        <p:spPr bwMode="auto">
          <a:xfrm>
            <a:off x="485775" y="5938838"/>
            <a:ext cx="3690938" cy="933450"/>
          </a:xfrm>
          <a:custGeom>
            <a:avLst/>
            <a:gdLst>
              <a:gd name="T0" fmla="*/ 0 w 5591"/>
              <a:gd name="T1" fmla="*/ 0 h 588"/>
              <a:gd name="T2" fmla="*/ 2147483647 w 5591"/>
              <a:gd name="T3" fmla="*/ 0 h 588"/>
              <a:gd name="T4" fmla="*/ 2147483647 w 5591"/>
              <a:gd name="T5" fmla="*/ 2147483647 h 588"/>
              <a:gd name="T6" fmla="*/ 2147483647 w 5591"/>
              <a:gd name="T7" fmla="*/ 0 h 588"/>
              <a:gd name="T8" fmla="*/ 0 60000 65536"/>
              <a:gd name="T9" fmla="*/ 0 60000 65536"/>
              <a:gd name="T10" fmla="*/ 0 60000 65536"/>
              <a:gd name="T11" fmla="*/ 0 60000 65536"/>
              <a:gd name="T12" fmla="*/ 0 w 5591"/>
              <a:gd name="T13" fmla="*/ 0 h 588"/>
              <a:gd name="T14" fmla="*/ 5591 w 5591"/>
              <a:gd name="T15" fmla="*/ 588 h 58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591" h="588">
                <a:moveTo>
                  <a:pt x="0" y="0"/>
                </a:moveTo>
                <a:lnTo>
                  <a:pt x="5591" y="585"/>
                </a:lnTo>
                <a:lnTo>
                  <a:pt x="4415" y="588"/>
                </a:lnTo>
                <a:lnTo>
                  <a:pt x="12" y="4"/>
                </a:lnTo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" name="Right Triangle 6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3" cstate="print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hevron 8"/>
          <p:cNvSpPr/>
          <p:nvPr/>
        </p:nvSpPr>
        <p:spPr>
          <a:xfrm>
            <a:off x="8664575" y="4987925"/>
            <a:ext cx="182563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endParaRPr lang="en-US"/>
          </a:p>
        </p:txBody>
      </p:sp>
      <p:sp>
        <p:nvSpPr>
          <p:cNvPr id="10" name="Chevron 9"/>
          <p:cNvSpPr/>
          <p:nvPr/>
        </p:nvSpPr>
        <p:spPr>
          <a:xfrm>
            <a:off x="8477250" y="4987925"/>
            <a:ext cx="182563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232" y="5443402"/>
            <a:ext cx="7162800" cy="648232"/>
          </a:xfrm>
          <a:noFill/>
        </p:spPr>
        <p:txBody>
          <a:bodyPr tIns="0"/>
          <a:lstStyle>
            <a:lvl1pPr marL="0" marR="18288" indent="0" algn="r"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28600" y="189968"/>
            <a:ext cx="8686800" cy="4389120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  <a:effectLst>
            <a:innerShdw blurRad="95250">
              <a:srgbClr val="000000"/>
            </a:innerShdw>
          </a:effectLst>
        </p:spPr>
        <p:txBody>
          <a:bodyPr>
            <a:normAutofit/>
          </a:bodyPr>
          <a:lstStyle>
            <a:lvl1pPr marL="0" indent="0">
              <a:buNone/>
              <a:defRPr sz="3200"/>
            </a:lvl1pPr>
            <a:extLst/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865122"/>
            <a:ext cx="8075432" cy="562672"/>
          </a:xfrm>
          <a:noFill/>
        </p:spPr>
        <p:txBody>
          <a:bodyPr anchor="t">
            <a:sp3d prstMaterial="softEdge"/>
          </a:bodyPr>
          <a:lstStyle>
            <a:lvl1pPr marR="0" algn="r">
              <a:buNone/>
              <a:defRPr sz="3000" b="0">
                <a:solidFill>
                  <a:schemeClr val="accent1"/>
                </a:solidFill>
                <a:effectLst>
                  <a:outerShdw blurRad="50800" dist="25000" dir="5400000" algn="t" rotWithShape="0">
                    <a:prstClr val="black">
                      <a:alpha val="45000"/>
                    </a:prstClr>
                  </a:outerShdw>
                </a:effectLst>
              </a:defRPr>
            </a:lvl1pPr>
            <a:extLst/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pPr>
              <a:defRPr/>
            </a:pPr>
            <a:endParaRPr lang="en-US" altLang="en-US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pPr>
              <a:defRPr/>
            </a:pPr>
            <a:endParaRPr lang="en-US" altLang="en-US"/>
          </a:p>
        </p:txBody>
      </p:sp>
      <p:sp>
        <p:nvSpPr>
          <p:cNvPr id="13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pPr>
              <a:defRPr/>
            </a:pPr>
            <a:fld id="{BE3D19A0-D9CD-4E29-B562-2BC4415CFD3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124225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A85195-AC35-429E-B485-6019A8F04F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6617667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21" imgH="423" progId="TCLayout.ActiveDocument.1">
                  <p:embed/>
                </p:oleObj>
              </mc:Choice>
              <mc:Fallback>
                <p:oleObj name="think-cell Slide" r:id="rId14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A85195-AC35-429E-B485-6019A8F04F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Freeform 12"/>
          <p:cNvSpPr>
            <a:spLocks/>
          </p:cNvSpPr>
          <p:nvPr/>
        </p:nvSpPr>
        <p:spPr bwMode="auto">
          <a:xfrm>
            <a:off x="500063" y="5945188"/>
            <a:ext cx="4940300" cy="920750"/>
          </a:xfrm>
          <a:custGeom>
            <a:avLst/>
            <a:gdLst>
              <a:gd name="T0" fmla="*/ 0 w 7485"/>
              <a:gd name="T1" fmla="*/ 0 h 337"/>
              <a:gd name="T2" fmla="*/ 2147483647 w 7485"/>
              <a:gd name="T3" fmla="*/ 0 h 337"/>
              <a:gd name="T4" fmla="*/ 2147483647 w 7485"/>
              <a:gd name="T5" fmla="*/ 2147483647 h 337"/>
              <a:gd name="T6" fmla="*/ 2147483647 w 7485"/>
              <a:gd name="T7" fmla="*/ 0 h 337"/>
              <a:gd name="T8" fmla="*/ 0 60000 65536"/>
              <a:gd name="T9" fmla="*/ 0 60000 65536"/>
              <a:gd name="T10" fmla="*/ 0 60000 65536"/>
              <a:gd name="T11" fmla="*/ 0 60000 65536"/>
              <a:gd name="T12" fmla="*/ 0 w 7485"/>
              <a:gd name="T13" fmla="*/ 0 h 337"/>
              <a:gd name="T14" fmla="*/ 7485 w 7485"/>
              <a:gd name="T15" fmla="*/ 337 h 33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7485" h="337">
                <a:moveTo>
                  <a:pt x="0" y="2"/>
                </a:moveTo>
                <a:lnTo>
                  <a:pt x="7485" y="337"/>
                </a:lnTo>
                <a:lnTo>
                  <a:pt x="5558" y="337"/>
                </a:lnTo>
                <a:lnTo>
                  <a:pt x="1" y="0"/>
                </a:lnTo>
              </a:path>
            </a:pathLst>
          </a:custGeom>
          <a:solidFill>
            <a:srgbClr val="9FAAC6">
              <a:alpha val="3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27" name="Freeform 11"/>
          <p:cNvSpPr>
            <a:spLocks/>
          </p:cNvSpPr>
          <p:nvPr/>
        </p:nvSpPr>
        <p:spPr bwMode="auto">
          <a:xfrm>
            <a:off x="485775" y="5938838"/>
            <a:ext cx="3690938" cy="933450"/>
          </a:xfrm>
          <a:custGeom>
            <a:avLst/>
            <a:gdLst>
              <a:gd name="T0" fmla="*/ 0 w 5591"/>
              <a:gd name="T1" fmla="*/ 0 h 588"/>
              <a:gd name="T2" fmla="*/ 2147483647 w 5591"/>
              <a:gd name="T3" fmla="*/ 0 h 588"/>
              <a:gd name="T4" fmla="*/ 2147483647 w 5591"/>
              <a:gd name="T5" fmla="*/ 2147483647 h 588"/>
              <a:gd name="T6" fmla="*/ 2147483647 w 5591"/>
              <a:gd name="T7" fmla="*/ 0 h 588"/>
              <a:gd name="T8" fmla="*/ 0 60000 65536"/>
              <a:gd name="T9" fmla="*/ 0 60000 65536"/>
              <a:gd name="T10" fmla="*/ 0 60000 65536"/>
              <a:gd name="T11" fmla="*/ 0 60000 65536"/>
              <a:gd name="T12" fmla="*/ 0 w 5591"/>
              <a:gd name="T13" fmla="*/ 0 h 588"/>
              <a:gd name="T14" fmla="*/ 5591 w 5591"/>
              <a:gd name="T15" fmla="*/ 588 h 58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591" h="588">
                <a:moveTo>
                  <a:pt x="0" y="0"/>
                </a:moveTo>
                <a:lnTo>
                  <a:pt x="5591" y="585"/>
                </a:lnTo>
                <a:lnTo>
                  <a:pt x="4415" y="588"/>
                </a:lnTo>
                <a:lnTo>
                  <a:pt x="12" y="4"/>
                </a:lnTo>
              </a:path>
            </a:pathLst>
          </a:custGeom>
          <a:solidFill>
            <a:srgbClr val="F9A6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Right Triangle 13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solidFill>
            <a:srgbClr val="296297"/>
          </a:solid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cxnSp>
        <p:nvCxnSpPr>
          <p:cNvPr id="15" name="Straight Connector 14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anchor="ctr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idx="1"/>
          </p:nvPr>
        </p:nvSpPr>
        <p:spPr bwMode="auto">
          <a:xfrm>
            <a:off x="457200" y="1481138"/>
            <a:ext cx="8229600" cy="452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2"/>
          </p:nvPr>
        </p:nvSpPr>
        <p:spPr>
          <a:xfrm>
            <a:off x="6727825" y="6408738"/>
            <a:ext cx="1919288" cy="365125"/>
          </a:xfrm>
          <a:prstGeom prst="rect">
            <a:avLst/>
          </a:prstGeom>
        </p:spPr>
        <p:txBody>
          <a:bodyPr vert="horz" anchor="b"/>
          <a:lstStyle>
            <a:lvl1pPr algn="l" eaLnBrk="1" latinLnBrk="0" hangingPunct="1">
              <a:defRPr kumimoji="0" sz="1000">
                <a:solidFill>
                  <a:schemeClr val="tx1"/>
                </a:solidFill>
              </a:defRPr>
            </a:lvl1pPr>
            <a:extLst/>
          </a:lstStyle>
          <a:p>
            <a:pPr>
              <a:defRPr/>
            </a:pPr>
            <a:endParaRPr lang="en-US" altLang="en-US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3"/>
          </p:nvPr>
        </p:nvSpPr>
        <p:spPr>
          <a:xfrm>
            <a:off x="4379913" y="6408738"/>
            <a:ext cx="2351087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>
                <a:solidFill>
                  <a:schemeClr val="tx1"/>
                </a:solidFill>
              </a:defRPr>
            </a:lvl1pPr>
            <a:extLst/>
          </a:lstStyle>
          <a:p>
            <a:pPr>
              <a:defRPr/>
            </a:pPr>
            <a:endParaRPr lang="en-US" altLang="en-US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8647113" y="6408738"/>
            <a:ext cx="366712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 b="0">
                <a:solidFill>
                  <a:schemeClr val="tx1"/>
                </a:solidFill>
              </a:defRPr>
            </a:lvl1pPr>
            <a:extLst/>
          </a:lstStyle>
          <a:p>
            <a:pPr>
              <a:defRPr/>
            </a:pPr>
            <a:fld id="{5EDE266E-657D-483A-A57A-854CCBEFCFE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00" r:id="rId1"/>
    <p:sldLayoutId id="2147483901" r:id="rId2"/>
    <p:sldLayoutId id="2147483902" r:id="rId3"/>
    <p:sldLayoutId id="2147483903" r:id="rId4"/>
    <p:sldLayoutId id="2147483904" r:id="rId5"/>
    <p:sldLayoutId id="2147483905" r:id="rId6"/>
    <p:sldLayoutId id="2147483897" r:id="rId7"/>
    <p:sldLayoutId id="2147483906" r:id="rId8"/>
    <p:sldLayoutId id="2147483907" r:id="rId9"/>
    <p:sldLayoutId id="2147483898" r:id="rId10"/>
    <p:sldLayoutId id="2147483899" r:id="rId11"/>
  </p:sldLayoutIdLs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3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3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3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build="p">
        <p:tmplLst>
          <p:tmpl lvl="1">
            <p:tnLst>
              <p:par>
                <p:cTn presetID="42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30"/>
                        </p:tgtEl>
                      </p:cBhvr>
                    </p:animEffect>
                    <p:anim calcmode="lin" valueType="num">
                      <p:cBhvr>
                        <p:cTn dur="1000" fill="hold"/>
                        <p:tgtEl>
                          <p:spTgt spid="3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2">
            <p:tnLst>
              <p:par>
                <p:cTn presetID="42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30"/>
                        </p:tgtEl>
                      </p:cBhvr>
                    </p:animEffect>
                    <p:anim calcmode="lin" valueType="num">
                      <p:cBhvr>
                        <p:cTn dur="1000" fill="hold"/>
                        <p:tgtEl>
                          <p:spTgt spid="3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3">
            <p:tnLst>
              <p:par>
                <p:cTn presetID="42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30"/>
                        </p:tgtEl>
                      </p:cBhvr>
                    </p:animEffect>
                    <p:anim calcmode="lin" valueType="num">
                      <p:cBhvr>
                        <p:cTn dur="1000" fill="hold"/>
                        <p:tgtEl>
                          <p:spTgt spid="3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4">
            <p:tnLst>
              <p:par>
                <p:cTn presetID="42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30"/>
                        </p:tgtEl>
                      </p:cBhvr>
                    </p:animEffect>
                    <p:anim calcmode="lin" valueType="num">
                      <p:cBhvr>
                        <p:cTn dur="1000" fill="hold"/>
                        <p:tgtEl>
                          <p:spTgt spid="3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5">
            <p:tnLst>
              <p:par>
                <p:cTn presetID="42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30"/>
                        </p:tgtEl>
                      </p:cBhvr>
                    </p:animEffect>
                    <p:anim calcmode="lin" valueType="num">
                      <p:cBhvr>
                        <p:cTn dur="1000" fill="hold"/>
                        <p:tgtEl>
                          <p:spTgt spid="3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100" b="1" kern="1200">
          <a:solidFill>
            <a:schemeClr val="tx2"/>
          </a:solidFill>
          <a:effectLst>
            <a:outerShdw blurRad="31750" dist="25400" dir="5400000" algn="tl" rotWithShape="0">
              <a:srgbClr val="000000">
                <a:alpha val="25000"/>
              </a:srgbClr>
            </a:outerShdw>
          </a:effectLst>
          <a:latin typeface="Calibri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Calibri" pitchFamily="34" charset="0"/>
        </a:defRPr>
      </a:lvl9pPr>
      <a:extLst/>
    </p:titleStyle>
    <p:bodyStyle>
      <a:lvl1pPr marL="365125" indent="-255588" algn="l" rtl="0" eaLnBrk="0" fontAlgn="base" hangingPunct="0">
        <a:spcBef>
          <a:spcPts val="400"/>
        </a:spcBef>
        <a:spcAft>
          <a:spcPct val="0"/>
        </a:spcAft>
        <a:buClr>
          <a:srgbClr val="296297"/>
        </a:buClr>
        <a:buSzPct val="68000"/>
        <a:buFont typeface="Wingdings 3" pitchFamily="18" charset="2"/>
        <a:buChar char=""/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20713" indent="-228600" algn="l" rtl="0" eaLnBrk="0" fontAlgn="base" hangingPunct="0">
        <a:spcBef>
          <a:spcPts val="325"/>
        </a:spcBef>
        <a:spcAft>
          <a:spcPct val="0"/>
        </a:spcAft>
        <a:buClr>
          <a:srgbClr val="F9A61A"/>
        </a:buClr>
        <a:buFont typeface="Wingdings" pitchFamily="2" charset="2"/>
        <a:buChar char="§"/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858838" indent="-228600" algn="l" rtl="0" eaLnBrk="0" fontAlgn="base" hangingPunct="0">
        <a:spcBef>
          <a:spcPts val="350"/>
        </a:spcBef>
        <a:spcAft>
          <a:spcPct val="0"/>
        </a:spcAft>
        <a:buClr>
          <a:srgbClr val="9FAAC6"/>
        </a:buClr>
        <a:buSzPct val="100000"/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rtl="0" eaLnBrk="0" fontAlgn="base" hangingPunct="0">
        <a:spcBef>
          <a:spcPts val="350"/>
        </a:spcBef>
        <a:spcAft>
          <a:spcPct val="0"/>
        </a:spcAft>
        <a:buClr>
          <a:srgbClr val="F9A61A"/>
        </a:buClr>
        <a:buFont typeface="Wingdings 2" pitchFamily="18" charset="2"/>
        <a:buChar char="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228600" algn="l" rtl="0" eaLnBrk="0" fontAlgn="base" hangingPunct="0">
        <a:spcBef>
          <a:spcPts val="350"/>
        </a:spcBef>
        <a:spcAft>
          <a:spcPct val="0"/>
        </a:spcAft>
        <a:buClr>
          <a:srgbClr val="F9A61A"/>
        </a:buClr>
        <a:buFont typeface="Wingdings 2" pitchFamily="18" charset="2"/>
        <a:buChar char="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6002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574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A3CA3E-987E-419B-AC51-E5080075A7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A3CA3E-987E-419B-AC51-E5080075A7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5">
            <a:extLst>
              <a:ext uri="{FF2B5EF4-FFF2-40B4-BE49-F238E27FC236}">
                <a16:creationId xmlns:a16="http://schemas.microsoft.com/office/drawing/2014/main" id="{4F60D5A6-AD7E-D86C-EC85-E323F5FB992D}"/>
              </a:ext>
            </a:extLst>
          </p:cNvPr>
          <p:cNvSpPr>
            <a:spLocks noGrp="1"/>
          </p:cNvSpPr>
          <p:nvPr/>
        </p:nvSpPr>
        <p:spPr>
          <a:xfrm>
            <a:off x="685800" y="1585129"/>
            <a:ext cx="7772400" cy="1787892"/>
          </a:xfrm>
          <a:prstGeom prst="rect">
            <a:avLst/>
          </a:prstGeom>
        </p:spPr>
        <p:txBody>
          <a:bodyPr vert="horz" lIns="91440" tIns="45720" rIns="91440" bIns="45720" anchor="b">
            <a:normAutofit fontScale="90000" lnSpcReduction="20000"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4800" b="1" kern="1200">
                <a:solidFill>
                  <a:schemeClr val="tx2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  <a:latin typeface="Calibri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9pPr>
            <a:extLst/>
          </a:lstStyle>
          <a:p>
            <a:pPr algn="l"/>
            <a:r>
              <a:rPr lang="en-US">
                <a:latin typeface="Calibri"/>
                <a:cs typeface="Calibri"/>
              </a:rPr>
              <a:t>Senate Transportation</a:t>
            </a:r>
            <a:br>
              <a:rPr lang="en-US">
                <a:latin typeface="Calibri"/>
                <a:cs typeface="Calibri"/>
              </a:rPr>
            </a:br>
            <a:r>
              <a:rPr lang="en-US">
                <a:latin typeface="Calibri"/>
                <a:cs typeface="Calibri"/>
              </a:rPr>
              <a:t>Subcommittee on LOSSAN Rail Corridor Resiliency</a:t>
            </a:r>
            <a:endParaRPr lang="en-US">
              <a:cs typeface="Calibri"/>
            </a:endParaRPr>
          </a:p>
        </p:txBody>
      </p:sp>
      <p:sp>
        <p:nvSpPr>
          <p:cNvPr id="9" name="Title 5">
            <a:extLst>
              <a:ext uri="{FF2B5EF4-FFF2-40B4-BE49-F238E27FC236}">
                <a16:creationId xmlns:a16="http://schemas.microsoft.com/office/drawing/2014/main" id="{A199044D-9CB6-C78F-4AF6-EE9D91E495C3}"/>
              </a:ext>
            </a:extLst>
          </p:cNvPr>
          <p:cNvSpPr>
            <a:spLocks noGrp="1"/>
          </p:cNvSpPr>
          <p:nvPr/>
        </p:nvSpPr>
        <p:spPr>
          <a:xfrm>
            <a:off x="685800" y="3765177"/>
            <a:ext cx="7772400" cy="629154"/>
          </a:xfrm>
          <a:prstGeom prst="rect">
            <a:avLst/>
          </a:prstGeom>
        </p:spPr>
        <p:txBody>
          <a:bodyPr vert="horz" lIns="91440" tIns="45720" rIns="91440" bIns="45720" anchor="b">
            <a:normAutofit fontScale="97500"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4800" b="1" kern="1200">
                <a:solidFill>
                  <a:schemeClr val="tx2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  <a:latin typeface="Calibri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9pPr>
            <a:extLst/>
          </a:lstStyle>
          <a:p>
            <a:pPr algn="l"/>
            <a:r>
              <a:rPr lang="en-US" sz="3200">
                <a:latin typeface="Calibri"/>
                <a:cs typeface="Calibri"/>
              </a:rPr>
              <a:t>Informational Hearing – August 15, 2023</a:t>
            </a:r>
            <a:endParaRPr lang="en-US" sz="3200">
              <a:cs typeface="Calibri"/>
            </a:endParaRPr>
          </a:p>
        </p:txBody>
      </p:sp>
    </p:spTree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C0DDB90-08DB-622B-67F2-7AAD6EEF5A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tate and Federal Funding Sourc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A5EF5A8-AC27-9D9D-A464-755A4E8594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2AE6AA9-9F6A-4851-84A2-E71C2DB28FC0}" type="slidenum">
              <a:rPr lang="en-US" altLang="en-US" smtClean="0"/>
              <a:pPr>
                <a:defRPr/>
              </a:pPr>
              <a:t>10</a:t>
            </a:fld>
            <a:endParaRPr lang="en-US" altLang="en-US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B79BE23-F92E-0FC5-D122-732DAEAAB4C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urrent State Funding Sources</a:t>
            </a:r>
          </a:p>
          <a:p>
            <a:pPr lvl="1"/>
            <a:r>
              <a:rPr lang="en-US" dirty="0"/>
              <a:t>Transit and Intercity Rail Capital Program (TIRCP) </a:t>
            </a:r>
          </a:p>
          <a:p>
            <a:pPr lvl="1"/>
            <a:r>
              <a:rPr lang="en-US" dirty="0"/>
              <a:t>State Rail Assistance (Intercity and Regional)</a:t>
            </a:r>
          </a:p>
          <a:p>
            <a:pPr lvl="1"/>
            <a:r>
              <a:rPr lang="en-US" dirty="0"/>
              <a:t>SB1 Programs</a:t>
            </a:r>
          </a:p>
          <a:p>
            <a:pPr lvl="2"/>
            <a:r>
              <a:rPr lang="en-US" dirty="0"/>
              <a:t>Trade Corridor Enhancement Program (TCEP)</a:t>
            </a:r>
          </a:p>
          <a:p>
            <a:pPr lvl="2"/>
            <a:r>
              <a:rPr lang="en-US" dirty="0"/>
              <a:t>Solutions for Congested Corridors Program (SCCP)</a:t>
            </a:r>
          </a:p>
          <a:p>
            <a:pPr lvl="2"/>
            <a:r>
              <a:rPr lang="en-US" dirty="0"/>
              <a:t>State Local Partnership</a:t>
            </a:r>
          </a:p>
          <a:p>
            <a:pPr lvl="1"/>
            <a:r>
              <a:rPr lang="en-US" dirty="0"/>
              <a:t>State Transportation Improvement Program</a:t>
            </a:r>
          </a:p>
          <a:p>
            <a:pPr lvl="1"/>
            <a:r>
              <a:rPr lang="en-US" dirty="0"/>
              <a:t>Transportation Development Act Source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65496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C0DDB90-08DB-622B-67F2-7AAD6EEF5A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tate and Federal Funding Sourc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A5EF5A8-AC27-9D9D-A464-755A4E8594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2AE6AA9-9F6A-4851-84A2-E71C2DB28FC0}" type="slidenum">
              <a:rPr lang="en-US" altLang="en-US" smtClean="0"/>
              <a:pPr>
                <a:defRPr/>
              </a:pPr>
              <a:t>11</a:t>
            </a:fld>
            <a:endParaRPr lang="en-US" altLang="en-US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B79BE23-F92E-0FC5-D122-732DAEAAB4C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ocal Sources</a:t>
            </a:r>
          </a:p>
          <a:p>
            <a:pPr lvl="1"/>
            <a:r>
              <a:rPr lang="en-US" dirty="0"/>
              <a:t>Sales tax measures (e.g., </a:t>
            </a:r>
            <a:r>
              <a:rPr lang="en-US" dirty="0" err="1"/>
              <a:t>TransNet</a:t>
            </a:r>
            <a:r>
              <a:rPr lang="en-US" dirty="0"/>
              <a:t>) </a:t>
            </a:r>
          </a:p>
          <a:p>
            <a:r>
              <a:rPr lang="en-US" dirty="0"/>
              <a:t>Potential Federal Funding Sources: </a:t>
            </a:r>
          </a:p>
          <a:p>
            <a:pPr lvl="1"/>
            <a:r>
              <a:rPr lang="en-US" dirty="0"/>
              <a:t>Fed-State Partnership for Intercity Passenger Rail</a:t>
            </a:r>
          </a:p>
          <a:p>
            <a:pPr lvl="1"/>
            <a:r>
              <a:rPr lang="en-US" dirty="0"/>
              <a:t>“PROTECT” Program</a:t>
            </a:r>
          </a:p>
          <a:p>
            <a:pPr lvl="1"/>
            <a:r>
              <a:rPr lang="en-US" dirty="0"/>
              <a:t>Consolidated Rail Infrastructure and Safety Improvements (CRISI) Program </a:t>
            </a:r>
          </a:p>
          <a:p>
            <a:pPr lvl="1"/>
            <a:r>
              <a:rPr lang="en-US" dirty="0"/>
              <a:t>Major Project Development Grants (MPDG) Program (E.g., RAISE, INFRA, MEGA) </a:t>
            </a:r>
          </a:p>
          <a:p>
            <a:pPr lvl="1"/>
            <a:r>
              <a:rPr lang="en-US" dirty="0"/>
              <a:t>Rail Crossing Elimination Program</a:t>
            </a:r>
          </a:p>
          <a:p>
            <a:pPr lvl="1"/>
            <a:r>
              <a:rPr lang="en-US" dirty="0"/>
              <a:t>Amtrak National Network Grants</a:t>
            </a:r>
          </a:p>
          <a:p>
            <a:pPr lvl="1"/>
            <a:r>
              <a:rPr lang="en-US" dirty="0"/>
              <a:t>Federal Transit Administration Funding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970970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C0DDB90-08DB-622B-67F2-7AAD6EEF5A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tate and Federal Funding Sourc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A5EF5A8-AC27-9D9D-A464-755A4E8594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2AE6AA9-9F6A-4851-84A2-E71C2DB28FC0}" type="slidenum">
              <a:rPr lang="en-US" altLang="en-US" smtClean="0"/>
              <a:pPr>
                <a:defRPr/>
              </a:pPr>
              <a:t>12</a:t>
            </a:fld>
            <a:endParaRPr lang="en-US" altLang="en-US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B79BE23-F92E-0FC5-D122-732DAEAAB4C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Need regional and statewide corridor advancement and funding strategy</a:t>
            </a:r>
          </a:p>
          <a:p>
            <a:r>
              <a:rPr lang="en-US" dirty="0"/>
              <a:t>Likely insufficiency of currently known grant and capital funding sources</a:t>
            </a:r>
          </a:p>
          <a:p>
            <a:r>
              <a:rPr lang="en-US" dirty="0"/>
              <a:t>Potential role of financing tools (repaid by owners and users)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55787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A3CA3E-987E-419B-AC51-E5080075A7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A3CA3E-987E-419B-AC51-E5080075A7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5">
            <a:extLst>
              <a:ext uri="{FF2B5EF4-FFF2-40B4-BE49-F238E27FC236}">
                <a16:creationId xmlns:a16="http://schemas.microsoft.com/office/drawing/2014/main" id="{4F60D5A6-AD7E-D86C-EC85-E323F5FB992D}"/>
              </a:ext>
            </a:extLst>
          </p:cNvPr>
          <p:cNvSpPr>
            <a:spLocks noGrp="1"/>
          </p:cNvSpPr>
          <p:nvPr/>
        </p:nvSpPr>
        <p:spPr>
          <a:xfrm>
            <a:off x="685800" y="1585129"/>
            <a:ext cx="7772400" cy="1787892"/>
          </a:xfrm>
          <a:prstGeom prst="rect">
            <a:avLst/>
          </a:prstGeom>
        </p:spPr>
        <p:txBody>
          <a:bodyPr vert="horz" lIns="91440" tIns="45720" rIns="91440" bIns="45720" anchor="b">
            <a:normAutofit fontScale="90000" lnSpcReduction="20000"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4800" b="1" kern="1200">
                <a:solidFill>
                  <a:schemeClr val="tx2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  <a:latin typeface="Calibri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9pPr>
            <a:extLst/>
          </a:lstStyle>
          <a:p>
            <a:pPr algn="l"/>
            <a:r>
              <a:rPr lang="en-US" dirty="0">
                <a:latin typeface="Calibri"/>
                <a:cs typeface="Calibri"/>
              </a:rPr>
              <a:t>Agenda Item III:	</a:t>
            </a:r>
          </a:p>
          <a:p>
            <a:pPr algn="l"/>
            <a:r>
              <a:rPr lang="en-US" dirty="0">
                <a:latin typeface="Calibri"/>
                <a:cs typeface="Calibri"/>
              </a:rPr>
              <a:t>Benefits of the LOSSAN Rail Corridor </a:t>
            </a:r>
            <a:endParaRPr lang="en-US" dirty="0">
              <a:cs typeface="Calibri"/>
            </a:endParaRPr>
          </a:p>
        </p:txBody>
      </p:sp>
      <p:sp>
        <p:nvSpPr>
          <p:cNvPr id="9" name="Title 5">
            <a:extLst>
              <a:ext uri="{FF2B5EF4-FFF2-40B4-BE49-F238E27FC236}">
                <a16:creationId xmlns:a16="http://schemas.microsoft.com/office/drawing/2014/main" id="{A199044D-9CB6-C78F-4AF6-EE9D91E495C3}"/>
              </a:ext>
            </a:extLst>
          </p:cNvPr>
          <p:cNvSpPr>
            <a:spLocks noGrp="1"/>
          </p:cNvSpPr>
          <p:nvPr/>
        </p:nvSpPr>
        <p:spPr>
          <a:xfrm>
            <a:off x="685800" y="3765177"/>
            <a:ext cx="7772400" cy="629154"/>
          </a:xfrm>
          <a:prstGeom prst="rect">
            <a:avLst/>
          </a:prstGeom>
        </p:spPr>
        <p:txBody>
          <a:bodyPr vert="horz" lIns="91440" tIns="45720" rIns="91440" bIns="45720" anchor="b">
            <a:normAutofit fontScale="97500"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4800" b="1" kern="1200">
                <a:solidFill>
                  <a:schemeClr val="tx2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  <a:latin typeface="Calibri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9pPr>
            <a:extLst/>
          </a:lstStyle>
          <a:p>
            <a:pPr algn="l"/>
            <a:r>
              <a:rPr lang="en-US" sz="3200">
                <a:latin typeface="Calibri"/>
                <a:cs typeface="Calibri"/>
              </a:rPr>
              <a:t>Informational Hearing – August 15, 2023</a:t>
            </a:r>
            <a:endParaRPr lang="en-US" sz="320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17795391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2AE6AA9-9F6A-4851-84A2-E71C2DB28FC0}" type="slidenum">
              <a:rPr lang="en-US" altLang="en-US" smtClean="0"/>
              <a:pPr>
                <a:defRPr/>
              </a:pPr>
              <a:t>3</a:t>
            </a:fld>
            <a:endParaRPr lang="en-US" alt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7CF5146-0CCF-D31C-CF8C-D7B8DE8C92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he LOSSAN Rail Corridor Today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CFB6E28-E2A7-41BF-0E33-D9672EC36D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81138"/>
            <a:ext cx="8603411" cy="4525962"/>
          </a:xfrm>
        </p:spPr>
        <p:txBody>
          <a:bodyPr/>
          <a:lstStyle/>
          <a:p>
            <a:pPr indent="-255270"/>
            <a:r>
              <a:rPr lang="en-US" dirty="0">
                <a:cs typeface="Lucida Sans Unicode"/>
              </a:rPr>
              <a:t>Significant passenger rail corridor today –Intercity and Regional</a:t>
            </a:r>
          </a:p>
          <a:p>
            <a:pPr indent="-255270"/>
            <a:r>
              <a:rPr lang="en-US" dirty="0">
                <a:cs typeface="Lucida Sans Unicode"/>
              </a:rPr>
              <a:t>Freight - direct connection from major ports to domestic markets</a:t>
            </a:r>
          </a:p>
          <a:p>
            <a:pPr indent="-255270"/>
            <a:r>
              <a:rPr lang="en-US" dirty="0">
                <a:cs typeface="Lucida Sans Unicode"/>
              </a:rPr>
              <a:t>Vital asset for national defense (STRACNET)</a:t>
            </a:r>
          </a:p>
          <a:p>
            <a:pPr indent="-255270"/>
            <a:endParaRPr lang="en-US" dirty="0">
              <a:cs typeface="Lucida Sans Unicode"/>
            </a:endParaRPr>
          </a:p>
        </p:txBody>
      </p:sp>
    </p:spTree>
    <p:extLst>
      <p:ext uri="{BB962C8B-B14F-4D97-AF65-F5344CB8AC3E}">
        <p14:creationId xmlns:p14="http://schemas.microsoft.com/office/powerpoint/2010/main" val="14495403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2AE6AA9-9F6A-4851-84A2-E71C2DB28FC0}" type="slidenum">
              <a:rPr lang="en-US" altLang="en-US" smtClean="0"/>
              <a:pPr>
                <a:defRPr/>
              </a:pPr>
              <a:t>4</a:t>
            </a:fld>
            <a:endParaRPr lang="en-US" alt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7CF5146-0CCF-D31C-CF8C-D7B8DE8C92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The State Rail Plan Vision for the Corridor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CFB6E28-E2A7-41BF-0E33-D9672EC36D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81138"/>
            <a:ext cx="8603411" cy="4525962"/>
          </a:xfrm>
        </p:spPr>
        <p:txBody>
          <a:bodyPr/>
          <a:lstStyle/>
          <a:p>
            <a:pPr indent="-255270"/>
            <a:r>
              <a:rPr lang="en-US" dirty="0">
                <a:cs typeface="Lucida Sans Unicode"/>
              </a:rPr>
              <a:t>Potential for Millions More Riders per Year in this Corridor</a:t>
            </a:r>
          </a:p>
          <a:p>
            <a:pPr indent="-255270"/>
            <a:r>
              <a:rPr lang="en-US" dirty="0">
                <a:cs typeface="Lucida Sans Unicode"/>
              </a:rPr>
              <a:t>Intercity and Regional Rail Integrated with Local Transit</a:t>
            </a:r>
          </a:p>
          <a:p>
            <a:pPr indent="-255270"/>
            <a:r>
              <a:rPr lang="en-US" dirty="0">
                <a:cs typeface="Lucida Sans Unicode"/>
              </a:rPr>
              <a:t>Will Connect Numerous Destinations Across SoCal Frequently Throughout the Day</a:t>
            </a:r>
          </a:p>
          <a:p>
            <a:pPr indent="-255270"/>
            <a:r>
              <a:rPr lang="en-US" dirty="0">
                <a:cs typeface="Lucida Sans Unicode"/>
              </a:rPr>
              <a:t>Service Will be Operated with Zero-Emission Trains</a:t>
            </a:r>
          </a:p>
          <a:p>
            <a:pPr indent="-255270"/>
            <a:r>
              <a:rPr lang="en-US" dirty="0"/>
              <a:t>Submitted to FRA’s Corridor Identification and Development Program (CIDP)</a:t>
            </a:r>
          </a:p>
          <a:p>
            <a:pPr indent="-255270"/>
            <a:endParaRPr lang="en-US" dirty="0">
              <a:cs typeface="Lucida Sans Unicode"/>
            </a:endParaRPr>
          </a:p>
          <a:p>
            <a:pPr marL="109855" indent="0">
              <a:buNone/>
            </a:pPr>
            <a:endParaRPr lang="en-US" dirty="0">
              <a:cs typeface="Lucida Sans Unicode"/>
            </a:endParaRPr>
          </a:p>
          <a:p>
            <a:pPr indent="-255270"/>
            <a:endParaRPr lang="en-US" dirty="0">
              <a:cs typeface="Lucida Sans Unicode"/>
            </a:endParaRPr>
          </a:p>
        </p:txBody>
      </p:sp>
    </p:spTree>
    <p:extLst>
      <p:ext uri="{BB962C8B-B14F-4D97-AF65-F5344CB8AC3E}">
        <p14:creationId xmlns:p14="http://schemas.microsoft.com/office/powerpoint/2010/main" val="38102051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A3CA3E-987E-419B-AC51-E5080075A7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A3CA3E-987E-419B-AC51-E5080075A7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5">
            <a:extLst>
              <a:ext uri="{FF2B5EF4-FFF2-40B4-BE49-F238E27FC236}">
                <a16:creationId xmlns:a16="http://schemas.microsoft.com/office/drawing/2014/main" id="{4F60D5A6-AD7E-D86C-EC85-E323F5FB992D}"/>
              </a:ext>
            </a:extLst>
          </p:cNvPr>
          <p:cNvSpPr>
            <a:spLocks noGrp="1"/>
          </p:cNvSpPr>
          <p:nvPr/>
        </p:nvSpPr>
        <p:spPr>
          <a:xfrm>
            <a:off x="685800" y="1585129"/>
            <a:ext cx="7772400" cy="1787892"/>
          </a:xfrm>
          <a:prstGeom prst="rect">
            <a:avLst/>
          </a:prstGeom>
        </p:spPr>
        <p:txBody>
          <a:bodyPr vert="horz" lIns="91440" tIns="45720" rIns="91440" bIns="45720" anchor="b">
            <a:normAutofit fontScale="90000" lnSpcReduction="20000"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4800" b="1" kern="1200">
                <a:solidFill>
                  <a:schemeClr val="tx2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  <a:latin typeface="Calibri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9pPr>
            <a:extLst/>
          </a:lstStyle>
          <a:p>
            <a:pPr algn="l"/>
            <a:r>
              <a:rPr lang="en-US" dirty="0">
                <a:latin typeface="Calibri"/>
                <a:cs typeface="Calibri"/>
              </a:rPr>
              <a:t>Agenda Item IV:	</a:t>
            </a:r>
          </a:p>
          <a:p>
            <a:pPr algn="l"/>
            <a:r>
              <a:rPr lang="en-US" dirty="0">
                <a:latin typeface="Calibri"/>
                <a:cs typeface="Calibri"/>
              </a:rPr>
              <a:t>Future Threats to the LOSSAN Rail Corridor</a:t>
            </a:r>
            <a:endParaRPr lang="en-US" dirty="0">
              <a:cs typeface="Calibri"/>
            </a:endParaRPr>
          </a:p>
        </p:txBody>
      </p:sp>
      <p:sp>
        <p:nvSpPr>
          <p:cNvPr id="9" name="Title 5">
            <a:extLst>
              <a:ext uri="{FF2B5EF4-FFF2-40B4-BE49-F238E27FC236}">
                <a16:creationId xmlns:a16="http://schemas.microsoft.com/office/drawing/2014/main" id="{A199044D-9CB6-C78F-4AF6-EE9D91E495C3}"/>
              </a:ext>
            </a:extLst>
          </p:cNvPr>
          <p:cNvSpPr>
            <a:spLocks noGrp="1"/>
          </p:cNvSpPr>
          <p:nvPr/>
        </p:nvSpPr>
        <p:spPr>
          <a:xfrm>
            <a:off x="685800" y="3765177"/>
            <a:ext cx="7772400" cy="629154"/>
          </a:xfrm>
          <a:prstGeom prst="rect">
            <a:avLst/>
          </a:prstGeom>
        </p:spPr>
        <p:txBody>
          <a:bodyPr vert="horz" lIns="91440" tIns="45720" rIns="91440" bIns="45720" anchor="b">
            <a:normAutofit fontScale="97500"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4800" b="1" kern="1200">
                <a:solidFill>
                  <a:schemeClr val="tx2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  <a:latin typeface="Calibri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9pPr>
            <a:extLst/>
          </a:lstStyle>
          <a:p>
            <a:pPr algn="l"/>
            <a:r>
              <a:rPr lang="en-US" sz="3200">
                <a:latin typeface="Calibri"/>
                <a:cs typeface="Calibri"/>
              </a:rPr>
              <a:t>Informational Hearing – August 15, 2023</a:t>
            </a:r>
            <a:endParaRPr lang="en-US" sz="320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32600832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C0DDB90-08DB-622B-67F2-7AAD6EEF5A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hreats to the LOSSAN Rail Corrido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A5EF5A8-AC27-9D9D-A464-755A4E8594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2AE6AA9-9F6A-4851-84A2-E71C2DB28FC0}" type="slidenum">
              <a:rPr lang="en-US" altLang="en-US" smtClean="0"/>
              <a:pPr>
                <a:defRPr/>
              </a:pPr>
              <a:t>6</a:t>
            </a:fld>
            <a:endParaRPr lang="en-US" altLang="en-US"/>
          </a:p>
        </p:txBody>
      </p:sp>
      <p:pic>
        <p:nvPicPr>
          <p:cNvPr id="5" name="Content Placeholder 4" descr="A picture containing outdoor, track, nature, traveling&#10;&#10;Description automatically generated">
            <a:extLst>
              <a:ext uri="{FF2B5EF4-FFF2-40B4-BE49-F238E27FC236}">
                <a16:creationId xmlns:a16="http://schemas.microsoft.com/office/drawing/2014/main" id="{B8A9D6F4-2E63-0325-2943-82F94F597A2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30" r="5814"/>
          <a:stretch/>
        </p:blipFill>
        <p:spPr>
          <a:xfrm>
            <a:off x="6071191" y="1417639"/>
            <a:ext cx="7375141" cy="455909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5322C5A-D264-B110-9F83-0CFD37054A4C}"/>
              </a:ext>
            </a:extLst>
          </p:cNvPr>
          <p:cNvSpPr txBox="1"/>
          <p:nvPr/>
        </p:nvSpPr>
        <p:spPr>
          <a:xfrm>
            <a:off x="7592033" y="5918171"/>
            <a:ext cx="465813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latin typeface="Calibri" panose="020F0502020204030204" pitchFamily="34" charset="0"/>
                <a:ea typeface="Calibri" panose="020F0502020204030204" pitchFamily="34" charset="0"/>
              </a:rPr>
              <a:t>Photo provided by OCTA</a:t>
            </a: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C9402BB-ACD1-84A6-6D25-B6FA750E5104}"/>
              </a:ext>
            </a:extLst>
          </p:cNvPr>
          <p:cNvSpPr txBox="1"/>
          <p:nvPr/>
        </p:nvSpPr>
        <p:spPr>
          <a:xfrm>
            <a:off x="452617" y="1631938"/>
            <a:ext cx="5480350" cy="31034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65125" marR="0" lvl="0" indent="-255270" algn="l" defTabSz="914400" rtl="0" eaLnBrk="0" fontAlgn="base" latinLnBrk="0" hangingPunct="0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rgbClr val="296297"/>
              </a:buClr>
              <a:buSzPct val="68000"/>
              <a:buFont typeface="Wingdings 3" pitchFamily="18" charset="2"/>
              <a:buChar char=""/>
              <a:tabLst/>
              <a:defRPr/>
            </a:pPr>
            <a:r>
              <a:rPr kumimoji="0" lang="en-US" sz="2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 Unicode"/>
                <a:ea typeface="+mn-ea"/>
                <a:cs typeface="Lucida Sans Unicode"/>
              </a:rPr>
              <a:t>Sea level </a:t>
            </a:r>
            <a:r>
              <a:rPr lang="en-US" sz="2700" dirty="0">
                <a:solidFill>
                  <a:prstClr val="black"/>
                </a:solidFill>
                <a:latin typeface="Lucida Sans Unicode"/>
                <a:cs typeface="Lucida Sans Unicode"/>
              </a:rPr>
              <a:t>r</a:t>
            </a:r>
            <a:r>
              <a:rPr kumimoji="0" lang="en-US" sz="27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 Unicode"/>
                <a:ea typeface="+mn-ea"/>
                <a:cs typeface="Lucida Sans Unicode"/>
              </a:rPr>
              <a:t>ise</a:t>
            </a:r>
            <a:r>
              <a:rPr kumimoji="0" lang="en-US" sz="2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 Unicode"/>
                <a:ea typeface="+mn-ea"/>
                <a:cs typeface="Lucida Sans Unicode"/>
              </a:rPr>
              <a:t>, flooding, and erosion</a:t>
            </a:r>
          </a:p>
          <a:p>
            <a:pPr marL="365125" marR="0" lvl="0" indent="-255270" algn="l" defTabSz="914400" rtl="0" eaLnBrk="0" fontAlgn="base" latinLnBrk="0" hangingPunct="0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rgbClr val="296297"/>
              </a:buClr>
              <a:buSzPct val="68000"/>
              <a:buFont typeface="Wingdings 3" pitchFamily="18" charset="2"/>
              <a:buChar char=""/>
              <a:tabLst/>
              <a:defRPr/>
            </a:pPr>
            <a:r>
              <a:rPr kumimoji="0" lang="en-US" sz="2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 Unicode"/>
                <a:ea typeface="+mn-ea"/>
                <a:cs typeface="Lucida Sans Unicode"/>
              </a:rPr>
              <a:t>Northern portion of corridor is </a:t>
            </a:r>
            <a:r>
              <a:rPr lang="en-US" sz="2700" dirty="0">
                <a:solidFill>
                  <a:prstClr val="black"/>
                </a:solidFill>
                <a:latin typeface="Lucida Sans Unicode"/>
                <a:cs typeface="Lucida Sans Unicode"/>
              </a:rPr>
              <a:t>n</a:t>
            </a:r>
            <a:r>
              <a:rPr kumimoji="0" lang="en-US" sz="27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 Unicode"/>
                <a:ea typeface="+mn-ea"/>
                <a:cs typeface="Lucida Sans Unicode"/>
              </a:rPr>
              <a:t>ot</a:t>
            </a:r>
            <a:r>
              <a:rPr kumimoji="0" lang="en-US" sz="2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 Unicode"/>
                <a:ea typeface="+mn-ea"/>
                <a:cs typeface="Lucida Sans Unicode"/>
              </a:rPr>
              <a:t> </a:t>
            </a:r>
            <a:r>
              <a:rPr lang="en-US" sz="2700" dirty="0">
                <a:solidFill>
                  <a:prstClr val="black"/>
                </a:solidFill>
                <a:latin typeface="Lucida Sans Unicode"/>
                <a:cs typeface="Lucida Sans Unicode"/>
              </a:rPr>
              <a:t>i</a:t>
            </a:r>
            <a:r>
              <a:rPr kumimoji="0" lang="en-US" sz="27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 Unicode"/>
                <a:ea typeface="+mn-ea"/>
                <a:cs typeface="Lucida Sans Unicode"/>
              </a:rPr>
              <a:t>mmune</a:t>
            </a:r>
            <a:endParaRPr lang="en-US" sz="2700" dirty="0">
              <a:solidFill>
                <a:prstClr val="black"/>
              </a:solidFill>
              <a:latin typeface="Lucida Sans Unicode"/>
              <a:cs typeface="Lucida Sans Unicode"/>
            </a:endParaRPr>
          </a:p>
          <a:p>
            <a:pPr marL="365125" marR="0" lvl="0" indent="-255270" algn="l" defTabSz="914400" rtl="0" eaLnBrk="0" fontAlgn="base" latinLnBrk="0" hangingPunct="0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rgbClr val="296297"/>
              </a:buClr>
              <a:buSzPct val="68000"/>
              <a:buFont typeface="Wingdings 3" pitchFamily="18" charset="2"/>
              <a:buChar char=""/>
              <a:tabLst/>
              <a:defRPr/>
            </a:pPr>
            <a:r>
              <a:rPr lang="en-US" sz="2700" dirty="0">
                <a:solidFill>
                  <a:prstClr val="black"/>
                </a:solidFill>
                <a:latin typeface="Lucida Sans Unicode"/>
                <a:cs typeface="Lucida Sans Unicode"/>
              </a:rPr>
              <a:t>Need to ensure reliability of corridor today to capture future potential</a:t>
            </a:r>
            <a:endParaRPr kumimoji="0" lang="en-US" sz="2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 Unicode"/>
              <a:ea typeface="+mn-ea"/>
              <a:cs typeface="Lucida Sans Unicode"/>
            </a:endParaRPr>
          </a:p>
        </p:txBody>
      </p:sp>
    </p:spTree>
    <p:extLst>
      <p:ext uri="{BB962C8B-B14F-4D97-AF65-F5344CB8AC3E}">
        <p14:creationId xmlns:p14="http://schemas.microsoft.com/office/powerpoint/2010/main" val="16808322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A0FAED8-0BCB-B296-6827-209833A72AD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6180" b="5805"/>
          <a:stretch/>
        </p:blipFill>
        <p:spPr>
          <a:xfrm>
            <a:off x="756107" y="1417638"/>
            <a:ext cx="7631785" cy="4547287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0C0DDB90-08DB-622B-67F2-7AAD6EEF5A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Future Threats to LOSSAN Rail Corrido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A5EF5A8-AC27-9D9D-A464-755A4E8594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2AE6AA9-9F6A-4851-84A2-E71C2DB28FC0}" type="slidenum">
              <a:rPr lang="en-US" altLang="en-US" smtClean="0"/>
              <a:pPr>
                <a:defRPr/>
              </a:pPr>
              <a:t>7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570109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A3CA3E-987E-419B-AC51-E5080075A7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A3CA3E-987E-419B-AC51-E5080075A7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5">
            <a:extLst>
              <a:ext uri="{FF2B5EF4-FFF2-40B4-BE49-F238E27FC236}">
                <a16:creationId xmlns:a16="http://schemas.microsoft.com/office/drawing/2014/main" id="{4F60D5A6-AD7E-D86C-EC85-E323F5FB992D}"/>
              </a:ext>
            </a:extLst>
          </p:cNvPr>
          <p:cNvSpPr>
            <a:spLocks noGrp="1"/>
          </p:cNvSpPr>
          <p:nvPr/>
        </p:nvSpPr>
        <p:spPr>
          <a:xfrm>
            <a:off x="685800" y="1585129"/>
            <a:ext cx="7772400" cy="1787892"/>
          </a:xfrm>
          <a:prstGeom prst="rect">
            <a:avLst/>
          </a:prstGeom>
        </p:spPr>
        <p:txBody>
          <a:bodyPr vert="horz" lIns="91440" tIns="45720" rIns="91440" bIns="45720" anchor="b">
            <a:normAutofit fontScale="97500"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4800" b="1" kern="1200">
                <a:solidFill>
                  <a:schemeClr val="tx2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  <a:latin typeface="Calibri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9pPr>
            <a:extLst/>
          </a:lstStyle>
          <a:p>
            <a:pPr algn="l"/>
            <a:r>
              <a:rPr lang="en-US" dirty="0">
                <a:latin typeface="Calibri"/>
                <a:cs typeface="Calibri"/>
              </a:rPr>
              <a:t>Agenda Item V:	</a:t>
            </a:r>
          </a:p>
          <a:p>
            <a:pPr algn="l"/>
            <a:r>
              <a:rPr lang="en-US" dirty="0">
                <a:latin typeface="Calibri"/>
                <a:cs typeface="Calibri"/>
              </a:rPr>
              <a:t>Federal and State Investment</a:t>
            </a:r>
            <a:endParaRPr lang="en-US" dirty="0">
              <a:cs typeface="Calibri"/>
            </a:endParaRPr>
          </a:p>
        </p:txBody>
      </p:sp>
      <p:sp>
        <p:nvSpPr>
          <p:cNvPr id="9" name="Title 5">
            <a:extLst>
              <a:ext uri="{FF2B5EF4-FFF2-40B4-BE49-F238E27FC236}">
                <a16:creationId xmlns:a16="http://schemas.microsoft.com/office/drawing/2014/main" id="{A199044D-9CB6-C78F-4AF6-EE9D91E495C3}"/>
              </a:ext>
            </a:extLst>
          </p:cNvPr>
          <p:cNvSpPr>
            <a:spLocks noGrp="1"/>
          </p:cNvSpPr>
          <p:nvPr/>
        </p:nvSpPr>
        <p:spPr>
          <a:xfrm>
            <a:off x="685800" y="3765177"/>
            <a:ext cx="7772400" cy="629154"/>
          </a:xfrm>
          <a:prstGeom prst="rect">
            <a:avLst/>
          </a:prstGeom>
        </p:spPr>
        <p:txBody>
          <a:bodyPr vert="horz" lIns="91440" tIns="45720" rIns="91440" bIns="45720" anchor="b">
            <a:normAutofit fontScale="97500"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4800" b="1" kern="1200">
                <a:solidFill>
                  <a:schemeClr val="tx2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  <a:latin typeface="Calibri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Calibri" pitchFamily="34" charset="0"/>
              </a:defRPr>
            </a:lvl9pPr>
            <a:extLst/>
          </a:lstStyle>
          <a:p>
            <a:pPr algn="l"/>
            <a:r>
              <a:rPr lang="en-US" sz="3200">
                <a:latin typeface="Calibri"/>
                <a:cs typeface="Calibri"/>
              </a:rPr>
              <a:t>Informational Hearing – August 15, 2023</a:t>
            </a:r>
            <a:endParaRPr lang="en-US" sz="320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55408248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C0DDB90-08DB-622B-67F2-7AAD6EEF5A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Shutdowns Impact Funding for Capital Projects and Operating Cos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A5EF5A8-AC27-9D9D-A464-755A4E8594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2AE6AA9-9F6A-4851-84A2-E71C2DB28FC0}" type="slidenum">
              <a:rPr lang="en-US" altLang="en-US" smtClean="0"/>
              <a:pPr>
                <a:defRPr/>
              </a:pPr>
              <a:t>9</a:t>
            </a:fld>
            <a:endParaRPr lang="en-US" altLang="en-US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B79BE23-F92E-0FC5-D122-732DAEAAB4C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Operating cost impact of San Clemente shutdowns</a:t>
            </a:r>
          </a:p>
          <a:p>
            <a:r>
              <a:rPr lang="en-US" dirty="0"/>
              <a:t>Emergency funding approaches for San Clemente and Del Mar Bluffs repairs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72390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CalSTA PP Theme">
  <a:themeElements>
    <a:clrScheme name="Concourse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FF8119"/>
      </a:hlink>
      <a:folHlink>
        <a:srgbClr val="44B9E8"/>
      </a:folHlink>
    </a:clrScheme>
    <a:fontScheme name="Concourse">
      <a:maj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  <a:font script="Geor" typeface="Sylfaen"/>
      </a:majorFont>
      <a:min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  <a:font script="Geor" typeface="Sylfaen"/>
      </a:minorFont>
    </a:fontScheme>
    <a:fmtScheme name="Concourse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satMod val="180000"/>
              </a:schemeClr>
            </a:gs>
            <a:gs pos="65000">
              <a:schemeClr val="phClr">
                <a:tint val="32000"/>
                <a:satMod val="250000"/>
              </a:schemeClr>
            </a:gs>
            <a:gs pos="100000">
              <a:schemeClr val="phClr">
                <a:tint val="23000"/>
                <a:satMod val="30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15000"/>
                <a:satMod val="180000"/>
              </a:schemeClr>
            </a:gs>
            <a:gs pos="50000">
              <a:schemeClr val="phClr">
                <a:shade val="45000"/>
                <a:satMod val="170000"/>
              </a:schemeClr>
            </a:gs>
            <a:gs pos="70000">
              <a:schemeClr val="phClr">
                <a:tint val="99000"/>
                <a:shade val="65000"/>
                <a:satMod val="155000"/>
              </a:schemeClr>
            </a:gs>
            <a:gs pos="100000">
              <a:schemeClr val="phClr">
                <a:tint val="95500"/>
                <a:shade val="10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55000" cap="flat" cmpd="thickThin" algn="ctr">
          <a:solidFill>
            <a:schemeClr val="phClr"/>
          </a:solidFill>
          <a:prstDash val="solid"/>
        </a:ln>
        <a:ln w="63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bevelT w="95250" h="101600"/>
            <a:contourClr>
              <a:schemeClr val="phClr">
                <a:satMod val="3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65000"/>
                <a:satMod val="300000"/>
              </a:schemeClr>
            </a:gs>
          </a:gsLst>
          <a:path path="circle">
            <a:fillToRect l="65000" b="98000"/>
          </a:path>
        </a:gradFill>
        <a:blipFill>
          <a:blip xmlns:r="http://schemas.openxmlformats.org/officeDocument/2006/relationships" r:embed="rId1">
            <a:duotone>
              <a:schemeClr val="phClr">
                <a:shade val="60000"/>
                <a:satMod val="110000"/>
              </a:schemeClr>
              <a:schemeClr val="phClr">
                <a:tint val="95000"/>
              </a:schemeClr>
            </a:duotone>
          </a:blip>
          <a:tile tx="0" ty="0" sx="50000" sy="5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Concourse">
    <a:dk1>
      <a:sysClr val="windowText" lastClr="000000"/>
    </a:dk1>
    <a:lt1>
      <a:sysClr val="window" lastClr="FFFFFF"/>
    </a:lt1>
    <a:dk2>
      <a:srgbClr val="464646"/>
    </a:dk2>
    <a:lt2>
      <a:srgbClr val="DEF5FA"/>
    </a:lt2>
    <a:accent1>
      <a:srgbClr val="2DA2BF"/>
    </a:accent1>
    <a:accent2>
      <a:srgbClr val="DA1F28"/>
    </a:accent2>
    <a:accent3>
      <a:srgbClr val="EB641B"/>
    </a:accent3>
    <a:accent4>
      <a:srgbClr val="39639D"/>
    </a:accent4>
    <a:accent5>
      <a:srgbClr val="474B78"/>
    </a:accent5>
    <a:accent6>
      <a:srgbClr val="7D3C4A"/>
    </a:accent6>
    <a:hlink>
      <a:srgbClr val="FF8119"/>
    </a:hlink>
    <a:folHlink>
      <a:srgbClr val="44B9E8"/>
    </a:folHlink>
  </a:clrScheme>
</a:themeOverride>
</file>

<file path=ppt/theme/themeOverride2.xml><?xml version="1.0" encoding="utf-8"?>
<a:themeOverride xmlns:a="http://schemas.openxmlformats.org/drawingml/2006/main">
  <a:clrScheme name="Concourse">
    <a:dk1>
      <a:sysClr val="windowText" lastClr="000000"/>
    </a:dk1>
    <a:lt1>
      <a:sysClr val="window" lastClr="FFFFFF"/>
    </a:lt1>
    <a:dk2>
      <a:srgbClr val="464646"/>
    </a:dk2>
    <a:lt2>
      <a:srgbClr val="DEF5FA"/>
    </a:lt2>
    <a:accent1>
      <a:srgbClr val="2DA2BF"/>
    </a:accent1>
    <a:accent2>
      <a:srgbClr val="DA1F28"/>
    </a:accent2>
    <a:accent3>
      <a:srgbClr val="EB641B"/>
    </a:accent3>
    <a:accent4>
      <a:srgbClr val="39639D"/>
    </a:accent4>
    <a:accent5>
      <a:srgbClr val="474B78"/>
    </a:accent5>
    <a:accent6>
      <a:srgbClr val="7D3C4A"/>
    </a:accent6>
    <a:hlink>
      <a:srgbClr val="FF8119"/>
    </a:hlink>
    <a:folHlink>
      <a:srgbClr val="44B9E8"/>
    </a:folHlink>
  </a:clrScheme>
</a:themeOverride>
</file>

<file path=ppt/theme/themeOverride3.xml><?xml version="1.0" encoding="utf-8"?>
<a:themeOverride xmlns:a="http://schemas.openxmlformats.org/drawingml/2006/main">
  <a:clrScheme name="Concourse">
    <a:dk1>
      <a:sysClr val="windowText" lastClr="000000"/>
    </a:dk1>
    <a:lt1>
      <a:sysClr val="window" lastClr="FFFFFF"/>
    </a:lt1>
    <a:dk2>
      <a:srgbClr val="464646"/>
    </a:dk2>
    <a:lt2>
      <a:srgbClr val="DEF5FA"/>
    </a:lt2>
    <a:accent1>
      <a:srgbClr val="2DA2BF"/>
    </a:accent1>
    <a:accent2>
      <a:srgbClr val="DA1F28"/>
    </a:accent2>
    <a:accent3>
      <a:srgbClr val="EB641B"/>
    </a:accent3>
    <a:accent4>
      <a:srgbClr val="39639D"/>
    </a:accent4>
    <a:accent5>
      <a:srgbClr val="474B78"/>
    </a:accent5>
    <a:accent6>
      <a:srgbClr val="7D3C4A"/>
    </a:accent6>
    <a:hlink>
      <a:srgbClr val="FF8119"/>
    </a:hlink>
    <a:folHlink>
      <a:srgbClr val="44B9E8"/>
    </a:folHlink>
  </a:clrScheme>
</a:themeOverride>
</file>

<file path=ppt/theme/themeOverride4.xml><?xml version="1.0" encoding="utf-8"?>
<a:themeOverride xmlns:a="http://schemas.openxmlformats.org/drawingml/2006/main">
  <a:clrScheme name="Concourse">
    <a:dk1>
      <a:sysClr val="windowText" lastClr="000000"/>
    </a:dk1>
    <a:lt1>
      <a:sysClr val="window" lastClr="FFFFFF"/>
    </a:lt1>
    <a:dk2>
      <a:srgbClr val="464646"/>
    </a:dk2>
    <a:lt2>
      <a:srgbClr val="DEF5FA"/>
    </a:lt2>
    <a:accent1>
      <a:srgbClr val="2DA2BF"/>
    </a:accent1>
    <a:accent2>
      <a:srgbClr val="DA1F28"/>
    </a:accent2>
    <a:accent3>
      <a:srgbClr val="EB641B"/>
    </a:accent3>
    <a:accent4>
      <a:srgbClr val="39639D"/>
    </a:accent4>
    <a:accent5>
      <a:srgbClr val="474B78"/>
    </a:accent5>
    <a:accent6>
      <a:srgbClr val="7D3C4A"/>
    </a:accent6>
    <a:hlink>
      <a:srgbClr val="FF8119"/>
    </a:hlink>
    <a:folHlink>
      <a:srgbClr val="44B9E8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E826C1C321CCE4E96BF152D9B8ED132" ma:contentTypeVersion="14" ma:contentTypeDescription="Create a new document." ma:contentTypeScope="" ma:versionID="73df1d5c0d093b9317f9185347c907f7">
  <xsd:schema xmlns:xsd="http://www.w3.org/2001/XMLSchema" xmlns:xs="http://www.w3.org/2001/XMLSchema" xmlns:p="http://schemas.microsoft.com/office/2006/metadata/properties" xmlns:ns1="http://schemas.microsoft.com/sharepoint/v3" xmlns:ns3="fc653354-8920-4970-bf69-4c6fc7189ab5" xmlns:ns4="edd7b2f8-3caa-4b85-830a-01ad0d41a324" targetNamespace="http://schemas.microsoft.com/office/2006/metadata/properties" ma:root="true" ma:fieldsID="8786a9d49913ac72d99dd62becc5881a" ns1:_="" ns3:_="" ns4:_="">
    <xsd:import namespace="http://schemas.microsoft.com/sharepoint/v3"/>
    <xsd:import namespace="fc653354-8920-4970-bf69-4c6fc7189ab5"/>
    <xsd:import namespace="edd7b2f8-3caa-4b85-830a-01ad0d41a324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1:_ip_UnifiedCompliancePolicyProperties" minOccurs="0"/>
                <xsd:element ref="ns1:_ip_UnifiedCompliancePolicyUIAction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5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6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653354-8920-4970-bf69-4c6fc7189ab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8" nillable="true" ma:displayName="Tags" ma:internalName="MediaServiceAutoTags" ma:readOnly="true">
      <xsd:simpleType>
        <xsd:restriction base="dms:Text"/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d7b2f8-3caa-4b85-830a-01ad0d41a324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C5154DB-8F9E-40FF-8020-932326759324}">
  <ds:schemaRefs>
    <ds:schemaRef ds:uri="edd7b2f8-3caa-4b85-830a-01ad0d41a324"/>
    <ds:schemaRef ds:uri="fc653354-8920-4970-bf69-4c6fc7189ab5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F21928DF-6ECC-488F-97D6-9A719C3C6C0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6D9AF43-9A5F-4DCE-9A16-C3DECCC38D8C}">
  <ds:schemaRefs>
    <ds:schemaRef ds:uri="edd7b2f8-3caa-4b85-830a-01ad0d41a324"/>
    <ds:schemaRef ds:uri="fc653354-8920-4970-bf69-4c6fc7189ab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alSTA PP Theme</Template>
  <TotalTime>4005</TotalTime>
  <Words>406</Words>
  <Application>Microsoft Office PowerPoint</Application>
  <PresentationFormat>On-screen Show (4:3)</PresentationFormat>
  <Paragraphs>92</Paragraphs>
  <Slides>12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1" baseType="lpstr">
      <vt:lpstr>Arial</vt:lpstr>
      <vt:lpstr>Calibri</vt:lpstr>
      <vt:lpstr>Lucida Sans Unicode</vt:lpstr>
      <vt:lpstr>Times New Roman</vt:lpstr>
      <vt:lpstr>Wingdings</vt:lpstr>
      <vt:lpstr>Wingdings 2</vt:lpstr>
      <vt:lpstr>Wingdings 3</vt:lpstr>
      <vt:lpstr>CalSTA PP Theme</vt:lpstr>
      <vt:lpstr>think-cell Slide</vt:lpstr>
      <vt:lpstr>PowerPoint Presentation</vt:lpstr>
      <vt:lpstr>PowerPoint Presentation</vt:lpstr>
      <vt:lpstr>The LOSSAN Rail Corridor Today</vt:lpstr>
      <vt:lpstr>The State Rail Plan Vision for the Corridor</vt:lpstr>
      <vt:lpstr>PowerPoint Presentation</vt:lpstr>
      <vt:lpstr>Threats to the LOSSAN Rail Corridor</vt:lpstr>
      <vt:lpstr>Future Threats to LOSSAN Rail Corridor</vt:lpstr>
      <vt:lpstr>PowerPoint Presentation</vt:lpstr>
      <vt:lpstr>Shutdowns Impact Funding for Capital Projects and Operating Costs</vt:lpstr>
      <vt:lpstr>State and Federal Funding Sources</vt:lpstr>
      <vt:lpstr>State and Federal Funding Sources</vt:lpstr>
      <vt:lpstr>State and Federal Funding Sources</vt:lpstr>
    </vt:vector>
  </TitlesOfParts>
  <Company>State of Californi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UBLIC ACCESS TO GOVERNMENT RECORDS</dc:title>
  <dc:creator>btaj01</dc:creator>
  <cp:lastModifiedBy>Edison, Chad R.@CalSTA</cp:lastModifiedBy>
  <cp:revision>4</cp:revision>
  <cp:lastPrinted>2021-11-02T04:39:44Z</cp:lastPrinted>
  <dcterms:created xsi:type="dcterms:W3CDTF">2006-10-31T18:40:09Z</dcterms:created>
  <dcterms:modified xsi:type="dcterms:W3CDTF">2023-08-14T20:31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E826C1C321CCE4E96BF152D9B8ED132</vt:lpwstr>
  </property>
</Properties>
</file>